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58427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49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CFE4A7BE-1BA3-4A13-B967-3CD7DA8E267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3" t="13901" r="1506" b="34485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5 Octo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amie Lee Curtis, Judy Greer, Anthony Michael Hal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avid Gordon Green (</a:t>
            </a:r>
            <a:r>
              <a:rPr lang="en-US" i="1" dirty="0">
                <a:solidFill>
                  <a:schemeClr val="accent6"/>
                </a:solidFill>
              </a:rPr>
              <a:t>Halloween, Pineapple Express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Hallowee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first film in the rebooted </a:t>
            </a:r>
            <a:r>
              <a:rPr lang="en-US" i="1" dirty="0">
                <a:solidFill>
                  <a:schemeClr val="accent6"/>
                </a:solidFill>
              </a:rPr>
              <a:t>Halloween </a:t>
            </a:r>
            <a:r>
              <a:rPr lang="en-US" dirty="0">
                <a:solidFill>
                  <a:schemeClr val="accent6"/>
                </a:solidFill>
              </a:rPr>
              <a:t>series was the most successful release of the franchise yet, taking £9 million at the UK Box Offic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23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584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The saga of Michael Myers and Laurie Strode continues in the next thrilling chapter of the Halloween series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Halloween kill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Michael Myers is back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9190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4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Halloween kill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4 2021</dc:title>
  <dc:creator/>
  <dc:description>Halloween kills</dc:description>
  <cp:lastModifiedBy/>
  <cp:revision>1</cp:revision>
  <dcterms:created xsi:type="dcterms:W3CDTF">2019-03-25T11:13:20Z</dcterms:created>
  <dcterms:modified xsi:type="dcterms:W3CDTF">2021-07-07T10:36:1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4 2021</vt:lpwstr>
  </property>
  <property fmtid="{D5CDD505-2E9C-101B-9397-08002B2CF9AE}" pid="4" name="SlideDescription">
    <vt:lpwstr>Halloween kills</vt:lpwstr>
  </property>
</Properties>
</file>